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5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ED37DDC8-A966-42E2-AA58-D98C2AE2572F}">
          <cx:tx>
            <cx:txData>
              <cx:f>Sheet1!$B$1</cx:f>
              <cx:v>Series1</cx:v>
            </cx:txData>
          </cx:tx>
          <cx:spPr>
            <a:ln>
              <a:noFill/>
            </a:ln>
          </cx:spPr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1"/>
        <cx:tickLabels/>
        <cx:spPr>
          <a:ln>
            <a:solidFill>
              <a:schemeClr val="bg1">
                <a:lumMod val="85000"/>
              </a:schemeClr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400">
              <a:solidFill>
                <a:schemeClr val="tx1"/>
              </a:solidFill>
            </a:endParaRPr>
          </a:p>
        </cx:txPr>
      </cx:axis>
      <cx:axis id="1">
        <cx:valScaling/>
        <cx:majorGridlines/>
        <cx:tickLabels/>
        <cx:spPr>
          <a:ln>
            <a:solidFill>
              <a:schemeClr val="bg1">
                <a:lumMod val="85000"/>
              </a:schemeClr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400">
              <a:solidFill>
                <a:schemeClr val="tx1"/>
              </a:solidFill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>
              <a:solidFill>
                <a:schemeClr val="tx1"/>
              </a:solidFill>
            </a:defRPr>
          </a:pPr>
          <a:endParaRPr lang="en-US" sz="1400" b="0" i="0" u="none" strike="noStrike" baseline="0">
            <a:solidFill>
              <a:schemeClr val="tx1"/>
            </a:solidFill>
            <a:latin typeface="Arial"/>
          </a:endParaRPr>
        </a:p>
      </cx:txPr>
    </cx:legend>
  </cx:chart>
  <cx:fmtOvrs>
    <cx:fmtOvr idx="2">
      <cx:spPr>
        <a:solidFill>
          <a:schemeClr val="accent1"/>
        </a:solidFill>
      </cx:spPr>
    </cx:fmtOvr>
    <cx:fmtOvr idx="1">
      <cx:spPr>
        <a:solidFill>
          <a:schemeClr val="accent5"/>
        </a:solidFill>
      </cx:spPr>
    </cx:fmtOvr>
    <cx:fmtOvr idx="0">
      <cx:spPr>
        <a:solidFill>
          <a:schemeClr val="accent2"/>
        </a:solidFill>
      </cx:spPr>
    </cx:fmtOvr>
  </cx:fmtOvrs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9">
  <cs:axisTitle>
    <cs:lnRef idx="0"/>
    <cs:fillRef idx="0"/>
    <cs:effectRef idx="0"/>
    <cs:fontRef idx="minor">
      <a:schemeClr val="tx2"/>
    </cs:fontRef>
    <cs:defRPr sz="1197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/>
  </cs:chartArea>
  <cs:dataLabel>
    <cs:lnRef idx="0"/>
    <cs:fillRef idx="0"/>
    <cs:effectRef idx="0"/>
    <cs:fontRef idx="minor">
      <a:schemeClr val="tx2"/>
    </cs:fontRef>
    <cs:defRPr sz="1197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2"/>
    </cs:fontRef>
    <cs:spPr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tx2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2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2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2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2"/>
    </cs:fontRef>
    <cs:defRPr sz="1197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2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2"/>
    </cs:fontRef>
    <cs:defRPr sz="2128" b="1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/>
  </cs:valueAxis>
  <cs:wall>
    <cs:lnRef idx="0"/>
    <cs:fillRef idx="0"/>
    <cs:effectRef idx="0"/>
    <cs:fontRef idx="minor">
      <a:schemeClr val="tx2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80.png"/><Relationship Id="rId5" Type="http://schemas.microsoft.com/office/2014/relationships/chartEx" Target="../charts/chartEx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8BC13-13DF-3988-687B-D56AC207C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B18801C9-D7CB-4D11-946D-062F45771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8801C9-D7CB-4D11-946D-062F45771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197E4C-FFB0-1D2A-3AB9-DB8396ABA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aterfa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BEFFA3-27BC-4E0D-A9A9-B396FE9CD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8826A6-10E4-5AFA-DEAA-4C7BFE87D331}"/>
              </a:ext>
            </a:extLst>
          </p:cNvPr>
          <p:cNvSpPr txBox="1"/>
          <p:nvPr/>
        </p:nvSpPr>
        <p:spPr>
          <a:xfrm>
            <a:off x="418055" y="1058545"/>
            <a:ext cx="11047792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Chart Title </a:t>
            </a:r>
            <a:endParaRPr lang="de-DE" sz="18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6" name="Content Placeholder 33">
                <a:extLst>
                  <a:ext uri="{FF2B5EF4-FFF2-40B4-BE49-F238E27FC236}">
                    <a16:creationId xmlns:a16="http://schemas.microsoft.com/office/drawing/2014/main" id="{D977F0CF-95E7-20F3-C78A-F741FBEB230C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429537" y="1724628"/>
              <a:ext cx="11332924" cy="449837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6" name="Content Placeholder 33">
                <a:extLst>
                  <a:ext uri="{FF2B5EF4-FFF2-40B4-BE49-F238E27FC236}">
                    <a16:creationId xmlns:a16="http://schemas.microsoft.com/office/drawing/2014/main" id="{D977F0CF-95E7-20F3-C78A-F741FBEB23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9537" y="1724628"/>
                <a:ext cx="11332924" cy="4498372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06647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6</TotalTime>
  <Words>4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Waterfal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98</cp:revision>
  <dcterms:created xsi:type="dcterms:W3CDTF">2021-03-31T02:49:57Z</dcterms:created>
  <dcterms:modified xsi:type="dcterms:W3CDTF">2025-10-15T08:52:10Z</dcterms:modified>
  <cp:category/>
</cp:coreProperties>
</file>